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2" r:id="rId5"/>
    <p:sldMasterId id="2147483703" r:id="rId6"/>
    <p:sldMasterId id="2147483708" r:id="rId7"/>
    <p:sldMasterId id="2147483713" r:id="rId8"/>
    <p:sldMasterId id="2147483718" r:id="rId9"/>
    <p:sldMasterId id="2147483723" r:id="rId10"/>
    <p:sldMasterId id="2147483728" r:id="rId11"/>
  </p:sldMasterIdLst>
  <p:notesMasterIdLst>
    <p:notesMasterId r:id="rId47"/>
  </p:notesMasterIdLst>
  <p:sldIdLst>
    <p:sldId id="3343" r:id="rId12"/>
    <p:sldId id="2147375033" r:id="rId13"/>
    <p:sldId id="2147375028" r:id="rId14"/>
    <p:sldId id="2147375032" r:id="rId15"/>
    <p:sldId id="2147375037" r:id="rId16"/>
    <p:sldId id="2147375036" r:id="rId17"/>
    <p:sldId id="2147375038" r:id="rId18"/>
    <p:sldId id="2147375034" r:id="rId19"/>
    <p:sldId id="2147375035" r:id="rId20"/>
    <p:sldId id="2147375030" r:id="rId21"/>
    <p:sldId id="2147375029" r:id="rId22"/>
    <p:sldId id="3346" r:id="rId23"/>
    <p:sldId id="2145705568" r:id="rId24"/>
    <p:sldId id="2145705566" r:id="rId25"/>
    <p:sldId id="2147375019" r:id="rId26"/>
    <p:sldId id="2147375017" r:id="rId27"/>
    <p:sldId id="2145705874" r:id="rId28"/>
    <p:sldId id="2145705878" r:id="rId29"/>
    <p:sldId id="2145705879" r:id="rId30"/>
    <p:sldId id="2145705900" r:id="rId31"/>
    <p:sldId id="2147375020" r:id="rId32"/>
    <p:sldId id="2145705872" r:id="rId33"/>
    <p:sldId id="2145705907" r:id="rId34"/>
    <p:sldId id="2147375014" r:id="rId35"/>
    <p:sldId id="2145705889" r:id="rId36"/>
    <p:sldId id="2147375021" r:id="rId37"/>
    <p:sldId id="2147375027" r:id="rId38"/>
    <p:sldId id="2147375000" r:id="rId39"/>
    <p:sldId id="2147375004" r:id="rId40"/>
    <p:sldId id="2147375005" r:id="rId41"/>
    <p:sldId id="2147375006" r:id="rId42"/>
    <p:sldId id="2147375007" r:id="rId43"/>
    <p:sldId id="2147375025" r:id="rId44"/>
    <p:sldId id="2147375031" r:id="rId45"/>
    <p:sldId id="2147375026" r:id="rId4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E3F"/>
    <a:srgbClr val="0432F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FC7A3D-3C27-B147-9AF5-36BEBC32620C}" v="13" dt="2023-05-19T15:05:53.0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76"/>
    <p:restoredTop sz="94889"/>
  </p:normalViewPr>
  <p:slideViewPr>
    <p:cSldViewPr snapToGrid="0">
      <p:cViewPr varScale="1">
        <p:scale>
          <a:sx n="159" d="100"/>
          <a:sy n="159" d="100"/>
        </p:scale>
        <p:origin x="64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hen Gao" userId="753ca5ad-a66a-4072-86ff-fe9bc8c0233d" providerId="ADAL" clId="{69FC7A3D-3C27-B147-9AF5-36BEBC32620C}"/>
    <pc:docChg chg="custSel addSld modSld sldOrd">
      <pc:chgData name="Zhen Gao" userId="753ca5ad-a66a-4072-86ff-fe9bc8c0233d" providerId="ADAL" clId="{69FC7A3D-3C27-B147-9AF5-36BEBC32620C}" dt="2023-05-19T15:05:53.017" v="323" actId="571"/>
      <pc:docMkLst>
        <pc:docMk/>
      </pc:docMkLst>
      <pc:sldChg chg="modSp mod">
        <pc:chgData name="Zhen Gao" userId="753ca5ad-a66a-4072-86ff-fe9bc8c0233d" providerId="ADAL" clId="{69FC7A3D-3C27-B147-9AF5-36BEBC32620C}" dt="2023-05-19T14:20:33.455" v="59" actId="20577"/>
        <pc:sldMkLst>
          <pc:docMk/>
          <pc:sldMk cId="2423095655" sldId="3343"/>
        </pc:sldMkLst>
        <pc:spChg chg="mod">
          <ac:chgData name="Zhen Gao" userId="753ca5ad-a66a-4072-86ff-fe9bc8c0233d" providerId="ADAL" clId="{69FC7A3D-3C27-B147-9AF5-36BEBC32620C}" dt="2023-05-19T14:20:33.455" v="59" actId="20577"/>
          <ac:spMkLst>
            <pc:docMk/>
            <pc:sldMk cId="2423095655" sldId="3343"/>
            <ac:spMk id="2" creationId="{CF1C6CDA-96EF-4992-9AF2-6F15731BF403}"/>
          </ac:spMkLst>
        </pc:spChg>
        <pc:spChg chg="mod">
          <ac:chgData name="Zhen Gao" userId="753ca5ad-a66a-4072-86ff-fe9bc8c0233d" providerId="ADAL" clId="{69FC7A3D-3C27-B147-9AF5-36BEBC32620C}" dt="2023-05-19T14:18:14.953" v="55" actId="20577"/>
          <ac:spMkLst>
            <pc:docMk/>
            <pc:sldMk cId="2423095655" sldId="3343"/>
            <ac:spMk id="7" creationId="{7B49B9A8-7362-4FFB-9503-B3F42D92B70A}"/>
          </ac:spMkLst>
        </pc:spChg>
      </pc:sldChg>
      <pc:sldChg chg="addSp modSp mod">
        <pc:chgData name="Zhen Gao" userId="753ca5ad-a66a-4072-86ff-fe9bc8c0233d" providerId="ADAL" clId="{69FC7A3D-3C27-B147-9AF5-36BEBC32620C}" dt="2023-05-19T14:25:11.996" v="205" actId="20577"/>
        <pc:sldMkLst>
          <pc:docMk/>
          <pc:sldMk cId="615585400" sldId="2147375028"/>
        </pc:sldMkLst>
        <pc:spChg chg="add mod">
          <ac:chgData name="Zhen Gao" userId="753ca5ad-a66a-4072-86ff-fe9bc8c0233d" providerId="ADAL" clId="{69FC7A3D-3C27-B147-9AF5-36BEBC32620C}" dt="2023-05-19T14:25:11.996" v="205" actId="20577"/>
          <ac:spMkLst>
            <pc:docMk/>
            <pc:sldMk cId="615585400" sldId="2147375028"/>
            <ac:spMk id="4" creationId="{540FD12D-B53B-EF37-05BF-6237250E9817}"/>
          </ac:spMkLst>
        </pc:spChg>
        <pc:spChg chg="mod">
          <ac:chgData name="Zhen Gao" userId="753ca5ad-a66a-4072-86ff-fe9bc8c0233d" providerId="ADAL" clId="{69FC7A3D-3C27-B147-9AF5-36BEBC32620C}" dt="2023-05-19T14:22:26.660" v="61" actId="1076"/>
          <ac:spMkLst>
            <pc:docMk/>
            <pc:sldMk cId="615585400" sldId="2147375028"/>
            <ac:spMk id="80" creationId="{00000000-0000-0000-0000-000000000000}"/>
          </ac:spMkLst>
        </pc:spChg>
        <pc:picChg chg="mod">
          <ac:chgData name="Zhen Gao" userId="753ca5ad-a66a-4072-86ff-fe9bc8c0233d" providerId="ADAL" clId="{69FC7A3D-3C27-B147-9AF5-36BEBC32620C}" dt="2023-05-19T14:24:32.850" v="174" actId="1076"/>
          <ac:picMkLst>
            <pc:docMk/>
            <pc:sldMk cId="615585400" sldId="2147375028"/>
            <ac:picMk id="3" creationId="{56BB9158-17C5-7460-A1BB-29939F6DCE2B}"/>
          </ac:picMkLst>
        </pc:picChg>
      </pc:sldChg>
      <pc:sldChg chg="modSp mod">
        <pc:chgData name="Zhen Gao" userId="753ca5ad-a66a-4072-86ff-fe9bc8c0233d" providerId="ADAL" clId="{69FC7A3D-3C27-B147-9AF5-36BEBC32620C}" dt="2023-05-18T12:59:07.548" v="47" actId="962"/>
        <pc:sldMkLst>
          <pc:docMk/>
          <pc:sldMk cId="2171658224" sldId="2147375030"/>
        </pc:sldMkLst>
        <pc:spChg chg="mod">
          <ac:chgData name="Zhen Gao" userId="753ca5ad-a66a-4072-86ff-fe9bc8c0233d" providerId="ADAL" clId="{69FC7A3D-3C27-B147-9AF5-36BEBC32620C}" dt="2023-05-18T12:59:07.548" v="47" actId="962"/>
          <ac:spMkLst>
            <pc:docMk/>
            <pc:sldMk cId="2171658224" sldId="2147375030"/>
            <ac:spMk id="3" creationId="{98625F07-A3CD-7A1B-CD7C-AD67FA01B83C}"/>
          </ac:spMkLst>
        </pc:spChg>
      </pc:sldChg>
      <pc:sldChg chg="addSp modSp mod">
        <pc:chgData name="Zhen Gao" userId="753ca5ad-a66a-4072-86ff-fe9bc8c0233d" providerId="ADAL" clId="{69FC7A3D-3C27-B147-9AF5-36BEBC32620C}" dt="2023-05-18T13:01:46.850" v="53" actId="27614"/>
        <pc:sldMkLst>
          <pc:docMk/>
          <pc:sldMk cId="3601653107" sldId="2147375031"/>
        </pc:sldMkLst>
        <pc:picChg chg="add mod">
          <ac:chgData name="Zhen Gao" userId="753ca5ad-a66a-4072-86ff-fe9bc8c0233d" providerId="ADAL" clId="{69FC7A3D-3C27-B147-9AF5-36BEBC32620C}" dt="2023-05-18T13:01:46.850" v="53" actId="27614"/>
          <ac:picMkLst>
            <pc:docMk/>
            <pc:sldMk cId="3601653107" sldId="2147375031"/>
            <ac:picMk id="3" creationId="{5C315EA8-2C1F-AF20-6875-BC6F90BC066D}"/>
          </ac:picMkLst>
        </pc:picChg>
      </pc:sldChg>
      <pc:sldChg chg="addSp modSp mod">
        <pc:chgData name="Zhen Gao" userId="753ca5ad-a66a-4072-86ff-fe9bc8c0233d" providerId="ADAL" clId="{69FC7A3D-3C27-B147-9AF5-36BEBC32620C}" dt="2023-05-19T14:25:08.037" v="204" actId="20577"/>
        <pc:sldMkLst>
          <pc:docMk/>
          <pc:sldMk cId="2260519135" sldId="2147375032"/>
        </pc:sldMkLst>
        <pc:spChg chg="add mod">
          <ac:chgData name="Zhen Gao" userId="753ca5ad-a66a-4072-86ff-fe9bc8c0233d" providerId="ADAL" clId="{69FC7A3D-3C27-B147-9AF5-36BEBC32620C}" dt="2023-05-19T14:25:08.037" v="204" actId="20577"/>
          <ac:spMkLst>
            <pc:docMk/>
            <pc:sldMk cId="2260519135" sldId="2147375032"/>
            <ac:spMk id="4" creationId="{CDF8B4E8-D175-FB84-6B07-C06264004D3F}"/>
          </ac:spMkLst>
        </pc:spChg>
        <pc:picChg chg="add mod">
          <ac:chgData name="Zhen Gao" userId="753ca5ad-a66a-4072-86ff-fe9bc8c0233d" providerId="ADAL" clId="{69FC7A3D-3C27-B147-9AF5-36BEBC32620C}" dt="2023-05-18T12:59:07.546" v="46" actId="27614"/>
          <ac:picMkLst>
            <pc:docMk/>
            <pc:sldMk cId="2260519135" sldId="2147375032"/>
            <ac:picMk id="3" creationId="{E6D27CD7-413A-8993-D4D0-6718F89812DA}"/>
          </ac:picMkLst>
        </pc:picChg>
      </pc:sldChg>
      <pc:sldChg chg="addSp delSp modSp add mod ord delAnim">
        <pc:chgData name="Zhen Gao" userId="753ca5ad-a66a-4072-86ff-fe9bc8c0233d" providerId="ADAL" clId="{69FC7A3D-3C27-B147-9AF5-36BEBC32620C}" dt="2023-05-19T15:05:53.017" v="323" actId="571"/>
        <pc:sldMkLst>
          <pc:docMk/>
          <pc:sldMk cId="249212611" sldId="2147375033"/>
        </pc:sldMkLst>
        <pc:spChg chg="del">
          <ac:chgData name="Zhen Gao" userId="753ca5ad-a66a-4072-86ff-fe9bc8c0233d" providerId="ADAL" clId="{69FC7A3D-3C27-B147-9AF5-36BEBC32620C}" dt="2023-05-18T12:59:23.681" v="49" actId="478"/>
          <ac:spMkLst>
            <pc:docMk/>
            <pc:sldMk cId="249212611" sldId="2147375033"/>
            <ac:spMk id="2" creationId="{29AF49ED-EAF7-F2EB-EB55-8B4B2761484D}"/>
          </ac:spMkLst>
        </pc:spChg>
        <pc:picChg chg="add mod">
          <ac:chgData name="Zhen Gao" userId="753ca5ad-a66a-4072-86ff-fe9bc8c0233d" providerId="ADAL" clId="{69FC7A3D-3C27-B147-9AF5-36BEBC32620C}" dt="2023-05-19T15:05:53.017" v="323" actId="571"/>
          <ac:picMkLst>
            <pc:docMk/>
            <pc:sldMk cId="249212611" sldId="2147375033"/>
            <ac:picMk id="3" creationId="{7BFD8E3F-1601-0AB7-1061-0F562A84B1D8}"/>
          </ac:picMkLst>
        </pc:picChg>
        <pc:picChg chg="add">
          <ac:chgData name="Zhen Gao" userId="753ca5ad-a66a-4072-86ff-fe9bc8c0233d" providerId="ADAL" clId="{69FC7A3D-3C27-B147-9AF5-36BEBC32620C}" dt="2023-05-19T14:19:33.124" v="56"/>
          <ac:picMkLst>
            <pc:docMk/>
            <pc:sldMk cId="249212611" sldId="2147375033"/>
            <ac:picMk id="1026" creationId="{F7B9D788-7FE0-F865-1606-182FF7798C3C}"/>
          </ac:picMkLst>
        </pc:picChg>
      </pc:sldChg>
      <pc:sldChg chg="add">
        <pc:chgData name="Zhen Gao" userId="753ca5ad-a66a-4072-86ff-fe9bc8c0233d" providerId="ADAL" clId="{69FC7A3D-3C27-B147-9AF5-36BEBC32620C}" dt="2023-05-18T12:59:28.026" v="50" actId="2890"/>
        <pc:sldMkLst>
          <pc:docMk/>
          <pc:sldMk cId="4029140782" sldId="2147375034"/>
        </pc:sldMkLst>
      </pc:sldChg>
      <pc:sldChg chg="add">
        <pc:chgData name="Zhen Gao" userId="753ca5ad-a66a-4072-86ff-fe9bc8c0233d" providerId="ADAL" clId="{69FC7A3D-3C27-B147-9AF5-36BEBC32620C}" dt="2023-05-18T12:59:33.831" v="51" actId="2890"/>
        <pc:sldMkLst>
          <pc:docMk/>
          <pc:sldMk cId="756381666" sldId="2147375035"/>
        </pc:sldMkLst>
      </pc:sldChg>
      <pc:sldChg chg="addSp delSp modSp add mod">
        <pc:chgData name="Zhen Gao" userId="753ca5ad-a66a-4072-86ff-fe9bc8c0233d" providerId="ADAL" clId="{69FC7A3D-3C27-B147-9AF5-36BEBC32620C}" dt="2023-05-19T14:44:16.251" v="309" actId="20577"/>
        <pc:sldMkLst>
          <pc:docMk/>
          <pc:sldMk cId="3312618218" sldId="2147375036"/>
        </pc:sldMkLst>
        <pc:spChg chg="mod">
          <ac:chgData name="Zhen Gao" userId="753ca5ad-a66a-4072-86ff-fe9bc8c0233d" providerId="ADAL" clId="{69FC7A3D-3C27-B147-9AF5-36BEBC32620C}" dt="2023-05-19T14:44:16.251" v="309" actId="20577"/>
          <ac:spMkLst>
            <pc:docMk/>
            <pc:sldMk cId="3312618218" sldId="2147375036"/>
            <ac:spMk id="4" creationId="{CDF8B4E8-D175-FB84-6B07-C06264004D3F}"/>
          </ac:spMkLst>
        </pc:spChg>
        <pc:picChg chg="del">
          <ac:chgData name="Zhen Gao" userId="753ca5ad-a66a-4072-86ff-fe9bc8c0233d" providerId="ADAL" clId="{69FC7A3D-3C27-B147-9AF5-36BEBC32620C}" dt="2023-05-19T14:42:31.404" v="216" actId="478"/>
          <ac:picMkLst>
            <pc:docMk/>
            <pc:sldMk cId="3312618218" sldId="2147375036"/>
            <ac:picMk id="3" creationId="{E6D27CD7-413A-8993-D4D0-6718F89812DA}"/>
          </ac:picMkLst>
        </pc:picChg>
        <pc:picChg chg="add mod">
          <ac:chgData name="Zhen Gao" userId="753ca5ad-a66a-4072-86ff-fe9bc8c0233d" providerId="ADAL" clId="{69FC7A3D-3C27-B147-9AF5-36BEBC32620C}" dt="2023-05-19T14:42:50.491" v="222" actId="1076"/>
          <ac:picMkLst>
            <pc:docMk/>
            <pc:sldMk cId="3312618218" sldId="2147375036"/>
            <ac:picMk id="5" creationId="{4C5C2A72-9952-FDC7-CA89-D949DCD0271E}"/>
          </ac:picMkLst>
        </pc:picChg>
      </pc:sldChg>
      <pc:sldChg chg="addSp modSp add mod">
        <pc:chgData name="Zhen Gao" userId="753ca5ad-a66a-4072-86ff-fe9bc8c0233d" providerId="ADAL" clId="{69FC7A3D-3C27-B147-9AF5-36BEBC32620C}" dt="2023-05-19T14:41:02.511" v="215" actId="1076"/>
        <pc:sldMkLst>
          <pc:docMk/>
          <pc:sldMk cId="3277848643" sldId="2147375037"/>
        </pc:sldMkLst>
        <pc:picChg chg="mod">
          <ac:chgData name="Zhen Gao" userId="753ca5ad-a66a-4072-86ff-fe9bc8c0233d" providerId="ADAL" clId="{69FC7A3D-3C27-B147-9AF5-36BEBC32620C}" dt="2023-05-19T14:40:58.497" v="213" actId="1076"/>
          <ac:picMkLst>
            <pc:docMk/>
            <pc:sldMk cId="3277848643" sldId="2147375037"/>
            <ac:picMk id="3" creationId="{E6D27CD7-413A-8993-D4D0-6718F89812DA}"/>
          </ac:picMkLst>
        </pc:picChg>
        <pc:picChg chg="add mod">
          <ac:chgData name="Zhen Gao" userId="753ca5ad-a66a-4072-86ff-fe9bc8c0233d" providerId="ADAL" clId="{69FC7A3D-3C27-B147-9AF5-36BEBC32620C}" dt="2023-05-19T14:41:02.511" v="215" actId="1076"/>
          <ac:picMkLst>
            <pc:docMk/>
            <pc:sldMk cId="3277848643" sldId="2147375037"/>
            <ac:picMk id="5" creationId="{3C4F4AA4-065B-86E9-FC5D-5ED9E1D0355C}"/>
          </ac:picMkLst>
        </pc:picChg>
      </pc:sldChg>
      <pc:sldChg chg="addSp delSp modSp add mod">
        <pc:chgData name="Zhen Gao" userId="753ca5ad-a66a-4072-86ff-fe9bc8c0233d" providerId="ADAL" clId="{69FC7A3D-3C27-B147-9AF5-36BEBC32620C}" dt="2023-05-19T14:46:12.609" v="322" actId="14100"/>
        <pc:sldMkLst>
          <pc:docMk/>
          <pc:sldMk cId="943869958" sldId="2147375038"/>
        </pc:sldMkLst>
        <pc:spChg chg="mod">
          <ac:chgData name="Zhen Gao" userId="753ca5ad-a66a-4072-86ff-fe9bc8c0233d" providerId="ADAL" clId="{69FC7A3D-3C27-B147-9AF5-36BEBC32620C}" dt="2023-05-19T14:46:02.856" v="319" actId="14100"/>
          <ac:spMkLst>
            <pc:docMk/>
            <pc:sldMk cId="943869958" sldId="2147375038"/>
            <ac:spMk id="4" creationId="{CDF8B4E8-D175-FB84-6B07-C06264004D3F}"/>
          </ac:spMkLst>
        </pc:spChg>
        <pc:picChg chg="add del mod">
          <ac:chgData name="Zhen Gao" userId="753ca5ad-a66a-4072-86ff-fe9bc8c0233d" providerId="ADAL" clId="{69FC7A3D-3C27-B147-9AF5-36BEBC32620C}" dt="2023-05-19T14:45:41.810" v="313"/>
          <ac:picMkLst>
            <pc:docMk/>
            <pc:sldMk cId="943869958" sldId="2147375038"/>
            <ac:picMk id="3" creationId="{9A4A2C8F-A289-BE45-0F8D-B41CE30B3E7A}"/>
          </ac:picMkLst>
        </pc:picChg>
        <pc:picChg chg="del">
          <ac:chgData name="Zhen Gao" userId="753ca5ad-a66a-4072-86ff-fe9bc8c0233d" providerId="ADAL" clId="{69FC7A3D-3C27-B147-9AF5-36BEBC32620C}" dt="2023-05-19T14:44:47.899" v="311" actId="478"/>
          <ac:picMkLst>
            <pc:docMk/>
            <pc:sldMk cId="943869958" sldId="2147375038"/>
            <ac:picMk id="5" creationId="{4C5C2A72-9952-FDC7-CA89-D949DCD0271E}"/>
          </ac:picMkLst>
        </pc:picChg>
        <pc:picChg chg="add mod">
          <ac:chgData name="Zhen Gao" userId="753ca5ad-a66a-4072-86ff-fe9bc8c0233d" providerId="ADAL" clId="{69FC7A3D-3C27-B147-9AF5-36BEBC32620C}" dt="2023-05-19T14:46:12.609" v="322" actId="14100"/>
          <ac:picMkLst>
            <pc:docMk/>
            <pc:sldMk cId="943869958" sldId="2147375038"/>
            <ac:picMk id="7" creationId="{57D7B37A-018E-9DF4-050B-476624C956E5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5/1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57870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5773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36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1982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08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9149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1289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08775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148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864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81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2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84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85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emf"/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emf"/><Relationship Id="rId2" Type="http://schemas.openxmlformats.org/officeDocument/2006/relationships/image" Target="../media/image89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7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image" Target="../media/image91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93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0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4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emf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06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105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08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6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79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79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80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May </a:t>
            </a:r>
            <a:r>
              <a:rPr lang="en-US" altLang="zh-CN" sz="1400" b="1" i="1" dirty="0">
                <a:solidFill>
                  <a:schemeClr val="tx1"/>
                </a:solidFill>
                <a:cs typeface="Arial"/>
              </a:rPr>
              <a:t>19</a:t>
            </a:r>
            <a:r>
              <a:rPr lang="en-US" sz="1400" b="1" i="1" dirty="0">
                <a:solidFill>
                  <a:schemeClr val="tx1"/>
                </a:solidFill>
                <a:cs typeface="Arial"/>
              </a:rPr>
              <a:t>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 for HTT Splicing Enhancers:</a:t>
            </a:r>
          </a:p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isdiplam, </a:t>
            </a:r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branplam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, and PTC518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625F07-A3CD-7A1B-CD7C-AD67FA01B83C}"/>
              </a:ext>
            </a:extLst>
          </p:cNvPr>
          <p:cNvSpPr txBox="1"/>
          <p:nvPr/>
        </p:nvSpPr>
        <p:spPr>
          <a:xfrm>
            <a:off x="3048000" y="324796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F0502020204030204" pitchFamily="34" charset="0"/>
              </a:rPr>
              <a:t>[NGS One]/TST12086: </a:t>
            </a:r>
          </a:p>
          <a:p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Data for TST12086 is ready.</a:t>
            </a:r>
          </a:p>
          <a:p>
            <a:endParaRPr lang="en-US" dirty="0">
              <a:solidFill>
                <a:srgbClr val="202020"/>
              </a:solidFill>
              <a:latin typeface="Helvetica" pitchFamily="2" charset="0"/>
            </a:endParaRPr>
          </a:p>
          <a:p>
            <a:r>
              <a:rPr lang="en-US" b="1" i="0" dirty="0">
                <a:solidFill>
                  <a:srgbClr val="424242"/>
                </a:solidFill>
                <a:effectLst/>
                <a:latin typeface="Segoe UI" panose="020B0502040204020203" pitchFamily="34" charset="0"/>
              </a:rPr>
              <a:t>Ravi Teja</a:t>
            </a:r>
            <a:r>
              <a:rPr lang="en-US" b="0" i="0" dirty="0">
                <a:solidFill>
                  <a:srgbClr val="202020"/>
                </a:solidFill>
                <a:effectLst/>
                <a:latin typeface="Helvetica" pitchFamily="2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822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EFF3BCFC-1EED-360D-D295-764634C429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929" y="3560535"/>
            <a:ext cx="5461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77092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457446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53863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6D3355B7-CDF0-8280-B1EA-35938AABB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B7380893-B9CD-2CD5-7887-8E980358A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7B9D788-7FE0-F865-1606-182FF7798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FD8E3F-1601-0AB7-1061-0F562A84B1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33" y="1587"/>
            <a:ext cx="12192000" cy="685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21261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4CFEEFBB-CAC1-5EEB-B871-6CABC12010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7A744C4-41FA-3298-9BD7-8E9AA162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8F0513F2-3793-8396-C53E-96F78D601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952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text, screenshot, font, line&#10;&#10;Description automatically generated">
            <a:extLst>
              <a:ext uri="{FF2B5EF4-FFF2-40B4-BE49-F238E27FC236}">
                <a16:creationId xmlns:a16="http://schemas.microsoft.com/office/drawing/2014/main" id="{56BB9158-17C5-7460-A1BB-29939F6DCE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460" y="2150076"/>
            <a:ext cx="7140832" cy="291465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40FD12D-B53B-EF37-05BF-6237250E9817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Count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with current setting</a:t>
            </a:r>
          </a:p>
        </p:txBody>
      </p:sp>
    </p:spTree>
    <p:extLst>
      <p:ext uri="{BB962C8B-B14F-4D97-AF65-F5344CB8AC3E}">
        <p14:creationId xmlns:p14="http://schemas.microsoft.com/office/powerpoint/2010/main" val="615585400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11872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5C315EA8-2C1F-AF20-6875-BC6F90BC06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685800"/>
            <a:ext cx="54864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653107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1367480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097" y="1408669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3C4F4AA4-065B-86E9-FC5D-5ED9E1D035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497" y="783884"/>
            <a:ext cx="3489323" cy="576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4864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PTC518/</a:t>
            </a:r>
            <a:r>
              <a:rPr lang="en-US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Branaplam</a:t>
            </a: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 in NGN2 cells and Risdiplam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in iPSC-MNs  </a:t>
            </a:r>
          </a:p>
        </p:txBody>
      </p:sp>
      <p:pic>
        <p:nvPicPr>
          <p:cNvPr id="5" name="Picture 4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4C5C2A72-9952-FDC7-CA89-D949DCD027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336" y="914400"/>
            <a:ext cx="5158946" cy="5158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61821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8204885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PTC518/</a:t>
            </a:r>
            <a:r>
              <a:rPr lang="en-US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Branaplam</a:t>
            </a: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 in NGN2 cells and Risdiplam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in iPSC-MNs  </a:t>
            </a:r>
          </a:p>
        </p:txBody>
      </p:sp>
      <p:pic>
        <p:nvPicPr>
          <p:cNvPr id="7" name="Picture 6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57D7B37A-018E-9DF4-050B-476624C956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0192" y="0"/>
            <a:ext cx="33610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86995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2914078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563816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911351E59E2D41B5F48397CF19BE0B" ma:contentTypeVersion="28" ma:contentTypeDescription="Create a new document." ma:contentTypeScope="" ma:versionID="4fe18916558ffc364c946f55d62e9c93">
  <xsd:schema xmlns:xsd="http://www.w3.org/2001/XMLSchema" xmlns:xs="http://www.w3.org/2001/XMLSchema" xmlns:p="http://schemas.microsoft.com/office/2006/metadata/properties" xmlns:ns2="4e4709c9-87d6-402e-95df-b29df3fed05a" xmlns:ns3="http://schemas.microsoft.com/sharepoint/v4" xmlns:ns4="137a3160-e39e-49ab-b94b-b867a58e3559" targetNamespace="http://schemas.microsoft.com/office/2006/metadata/properties" ma:root="true" ma:fieldsID="ffb3a5b69b384962de402e6ae0a06012" ns2:_="" ns3:_="" ns4:_="">
    <xsd:import namespace="4e4709c9-87d6-402e-95df-b29df3fed05a"/>
    <xsd:import namespace="http://schemas.microsoft.com/sharepoint/v4"/>
    <xsd:import namespace="137a3160-e39e-49ab-b94b-b867a58e3559"/>
    <xsd:element name="properties">
      <xsd:complexType>
        <xsd:sequence>
          <xsd:element name="documentManagement">
            <xsd:complexType>
              <xsd:all>
                <xsd:element ref="ns2:Multiline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IconOverlay" minOccurs="0"/>
                <xsd:element ref="ns4:SharedWithUsers" minOccurs="0"/>
                <xsd:element ref="ns4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4709c9-87d6-402e-95df-b29df3fed05a" elementFormDefault="qualified">
    <xsd:import namespace="http://schemas.microsoft.com/office/2006/documentManagement/types"/>
    <xsd:import namespace="http://schemas.microsoft.com/office/infopath/2007/PartnerControls"/>
    <xsd:element name="Multiline" ma:index="8" nillable="true" ma:displayName="Notes" ma:internalName="Notes0" ma:readOnly="false">
      <xsd:simpleType>
        <xsd:restriction base="dms:Note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da02e20-3405-48c8-b010-e0d39bee4d1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3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7a3160-e39e-49ab-b94b-b867a58e3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a7c2bf6-5ac2-4e55-858a-5b445ac41ad7}" ma:internalName="TaxCatchAll" ma:showField="CatchAllData" ma:web="137a3160-e39e-49ab-b94b-b867a58e3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Multiline xmlns="4e4709c9-87d6-402e-95df-b29df3fed05a" xsi:nil="true"/>
    <lcf76f155ced4ddcb4097134ff3c332f xmlns="4e4709c9-87d6-402e-95df-b29df3fed05a">
      <Terms xmlns="http://schemas.microsoft.com/office/infopath/2007/PartnerControls"/>
    </lcf76f155ced4ddcb4097134ff3c332f>
    <TaxCatchAll xmlns="137a3160-e39e-49ab-b94b-b867a58e3559" xsi:nil="true"/>
  </documentManagement>
</p:properties>
</file>

<file path=customXml/itemProps1.xml><?xml version="1.0" encoding="utf-8"?>
<ds:datastoreItem xmlns:ds="http://schemas.openxmlformats.org/officeDocument/2006/customXml" ds:itemID="{94D080A4-022B-4C9F-A45F-D386253625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4709c9-87d6-402e-95df-b29df3fed05a"/>
    <ds:schemaRef ds:uri="http://schemas.microsoft.com/sharepoint/v4"/>
    <ds:schemaRef ds:uri="137a3160-e39e-49ab-b94b-b867a58e35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E8C8F3D-8615-4B42-9627-F06317436FF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8B453B5-92E4-4352-9F0B-572A1B2F3C04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sharepoint/v4"/>
    <ds:schemaRef ds:uri="http://purl.org/dc/elements/1.1/"/>
    <ds:schemaRef ds:uri="4e4709c9-87d6-402e-95df-b29df3fed05a"/>
    <ds:schemaRef ds:uri="http://schemas.microsoft.com/office/infopath/2007/PartnerControls"/>
    <ds:schemaRef ds:uri="137a3160-e39e-49ab-b94b-b867a58e3559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30336</TotalTime>
  <Words>1151</Words>
  <Application>Microsoft Macintosh PowerPoint</Application>
  <PresentationFormat>Widescreen</PresentationFormat>
  <Paragraphs>410</Paragraphs>
  <Slides>35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5</vt:i4>
      </vt:variant>
    </vt:vector>
  </HeadingPairs>
  <TitlesOfParts>
    <vt:vector size="56" baseType="lpstr">
      <vt:lpstr>System Font Regular</vt:lpstr>
      <vt:lpstr>Arial</vt:lpstr>
      <vt:lpstr>Arial Narrow</vt:lpstr>
      <vt:lpstr>Calibri</vt:lpstr>
      <vt:lpstr>Century Gothic</vt:lpstr>
      <vt:lpstr>Helvetica</vt:lpstr>
      <vt:lpstr>Helvetica Neue</vt:lpstr>
      <vt:lpstr>Menlo</vt:lpstr>
      <vt:lpstr>Segoe UI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62</cp:revision>
  <dcterms:created xsi:type="dcterms:W3CDTF">2021-06-27T14:47:41Z</dcterms:created>
  <dcterms:modified xsi:type="dcterms:W3CDTF">2023-05-19T15:0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911351E59E2D41B5F48397CF19BE0B</vt:lpwstr>
  </property>
</Properties>
</file>